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5" r:id="rId5"/>
  </p:sldMasterIdLst>
  <p:notesMasterIdLst>
    <p:notesMasterId r:id="rId11"/>
  </p:notesMasterIdLst>
  <p:handoutMasterIdLst>
    <p:handoutMasterId r:id="rId12"/>
  </p:handoutMasterIdLst>
  <p:sldIdLst>
    <p:sldId id="716" r:id="rId6"/>
    <p:sldId id="693" r:id="rId7"/>
    <p:sldId id="657" r:id="rId8"/>
    <p:sldId id="715" r:id="rId9"/>
    <p:sldId id="711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716"/>
            <p14:sldId id="693"/>
            <p14:sldId id="657"/>
            <p14:sldId id="715"/>
            <p14:sldId id="71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9E2F"/>
    <a:srgbClr val="039CD1"/>
    <a:srgbClr val="FF9833"/>
    <a:srgbClr val="EB9E2F"/>
    <a:srgbClr val="001440"/>
    <a:srgbClr val="000C26"/>
    <a:srgbClr val="B7616B"/>
    <a:srgbClr val="309BFF"/>
    <a:srgbClr val="E86160"/>
    <a:srgbClr val="F362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4660"/>
  </p:normalViewPr>
  <p:slideViewPr>
    <p:cSldViewPr snapToGrid="0">
      <p:cViewPr varScale="1">
        <p:scale>
          <a:sx n="77" d="100"/>
          <a:sy n="77" d="100"/>
        </p:scale>
        <p:origin x="37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2790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819646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39A684E-287C-44BA-BC2D-897908177E3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70002"/>
            <a:ext cx="5991225" cy="600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210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 descr="A logo with text on it&#10;&#10;Description automatically generated">
            <a:extLst>
              <a:ext uri="{FF2B5EF4-FFF2-40B4-BE49-F238E27FC236}">
                <a16:creationId xmlns:a16="http://schemas.microsoft.com/office/drawing/2014/main" id="{01F601E5-7809-47A2-9AFC-3FCDE21F39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6484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3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1850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0" y="2005781"/>
            <a:ext cx="5530645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Gotham Light" pitchFamily="50" charset="0"/>
              </a:rPr>
              <a:t>Introduction to Data Scienc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588383" y="2928863"/>
            <a:ext cx="4860406" cy="500137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Importing data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10939" y="1353523"/>
            <a:ext cx="11593145" cy="32571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reating a DataFrame from scratch is very tedious. In the data science world, data will be available for you on a spreadsheet such as MS-Excel. The job of a data scientist is to import those datasets using Pandas. Pandas can import different format of data such as </a:t>
            </a:r>
            <a:r>
              <a:rPr lang="en-US" sz="2800" dirty="0">
                <a:solidFill>
                  <a:srgbClr val="00B0F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xlsx</a:t>
            </a: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(Excel data), </a:t>
            </a:r>
            <a:r>
              <a:rPr lang="en-US" sz="2800" dirty="0">
                <a:solidFill>
                  <a:srgbClr val="00B0F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csv</a:t>
            </a: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(comma separated value), </a:t>
            </a:r>
            <a:r>
              <a:rPr lang="en-US" sz="2800" dirty="0">
                <a:solidFill>
                  <a:srgbClr val="00B0F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sav</a:t>
            </a: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(SPSS data), </a:t>
            </a:r>
            <a:r>
              <a:rPr lang="en-US" sz="2800" dirty="0">
                <a:solidFill>
                  <a:srgbClr val="00B0F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800" dirty="0" err="1">
                <a:solidFill>
                  <a:srgbClr val="00B0F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at</a:t>
            </a: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(STATA data), or any other data online (the web.)</a:t>
            </a:r>
            <a:endParaRPr lang="en-US" sz="3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How to read in data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10939" y="723861"/>
            <a:ext cx="11593145" cy="6718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t’s quite simple to load data from various file formats into a DataFrame. </a:t>
            </a:r>
            <a:endParaRPr lang="en-US" sz="3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10939" y="188603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How to read data with Pandas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  <p:pic>
        <p:nvPicPr>
          <p:cNvPr id="5" name="Picture">
            <a:extLst>
              <a:ext uri="{FF2B5EF4-FFF2-40B4-BE49-F238E27FC236}">
                <a16:creationId xmlns:a16="http://schemas.microsoft.com/office/drawing/2014/main" id="{59B07362-4789-4893-AB00-36D3661999F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 bwMode="auto">
          <a:xfrm>
            <a:off x="1224116" y="1395712"/>
            <a:ext cx="9385992" cy="5012733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65921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900" y="1096795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92695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3</TotalTime>
  <Words>118</Words>
  <Application>Microsoft Office PowerPoint</Application>
  <PresentationFormat>Widescreen</PresentationFormat>
  <Paragraphs>7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Calibri Light</vt:lpstr>
      <vt:lpstr>Gotham Light</vt:lpstr>
      <vt:lpstr>2_Office Theme</vt:lpstr>
      <vt:lpstr>3_Office Theme</vt:lpstr>
      <vt:lpstr>think-cell Slide</vt:lpstr>
      <vt:lpstr>Introduction to Data Science</vt:lpstr>
      <vt:lpstr>Importing data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43</cp:revision>
  <dcterms:created xsi:type="dcterms:W3CDTF">2020-03-16T19:15:12Z</dcterms:created>
  <dcterms:modified xsi:type="dcterms:W3CDTF">2024-05-03T15:3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